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CE03AA-50A2-45DB-945B-EF2B1353C2CB}" v="49" dt="2023-03-13T21:55:23.1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89" d="100"/>
          <a:sy n="89" d="100"/>
        </p:scale>
        <p:origin x="84" y="930"/>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FCE03AA-50A2-45DB-945B-EF2B1353C2CB}"/>
    <pc:docChg chg="modSld">
      <pc:chgData name="Roberto Gallardo" userId="49a044883f185952" providerId="LiveId" clId="{9FCE03AA-50A2-45DB-945B-EF2B1353C2CB}" dt="2023-03-13T21:55:30.820" v="176" actId="14100"/>
      <pc:docMkLst>
        <pc:docMk/>
      </pc:docMkLst>
      <pc:sldChg chg="addSp modSp mod">
        <pc:chgData name="Roberto Gallardo" userId="49a044883f185952" providerId="LiveId" clId="{9FCE03AA-50A2-45DB-945B-EF2B1353C2CB}" dt="2023-03-13T21:50:31.178" v="6" actId="1076"/>
        <pc:sldMkLst>
          <pc:docMk/>
          <pc:sldMk cId="1418533539" sldId="271"/>
        </pc:sldMkLst>
        <pc:picChg chg="add mod">
          <ac:chgData name="Roberto Gallardo" userId="49a044883f185952" providerId="LiveId" clId="{9FCE03AA-50A2-45DB-945B-EF2B1353C2CB}" dt="2023-03-13T21:50:31.178" v="6" actId="1076"/>
          <ac:picMkLst>
            <pc:docMk/>
            <pc:sldMk cId="1418533539" sldId="271"/>
            <ac:picMk id="6" creationId="{CBB834D8-5D59-B0A2-0CAD-3F6AD8D45F60}"/>
          </ac:picMkLst>
        </pc:picChg>
      </pc:sldChg>
      <pc:sldChg chg="addSp modSp mod">
        <pc:chgData name="Roberto Gallardo" userId="49a044883f185952" providerId="LiveId" clId="{9FCE03AA-50A2-45DB-945B-EF2B1353C2CB}" dt="2023-03-13T21:52:13.964" v="59" actId="1076"/>
        <pc:sldMkLst>
          <pc:docMk/>
          <pc:sldMk cId="2124848710" sldId="281"/>
        </pc:sldMkLst>
        <pc:picChg chg="add mod">
          <ac:chgData name="Roberto Gallardo" userId="49a044883f185952" providerId="LiveId" clId="{9FCE03AA-50A2-45DB-945B-EF2B1353C2CB}" dt="2023-03-13T21:52:13.964" v="59" actId="1076"/>
          <ac:picMkLst>
            <pc:docMk/>
            <pc:sldMk cId="2124848710" sldId="281"/>
            <ac:picMk id="6" creationId="{2D896C95-1136-4C94-77AC-6BA1678B546D}"/>
          </ac:picMkLst>
        </pc:picChg>
      </pc:sldChg>
      <pc:sldChg chg="addSp modSp mod">
        <pc:chgData name="Roberto Gallardo" userId="49a044883f185952" providerId="LiveId" clId="{9FCE03AA-50A2-45DB-945B-EF2B1353C2CB}" dt="2023-03-13T21:52:29.864" v="68" actId="1076"/>
        <pc:sldMkLst>
          <pc:docMk/>
          <pc:sldMk cId="2028175529" sldId="282"/>
        </pc:sldMkLst>
        <pc:picChg chg="add mod">
          <ac:chgData name="Roberto Gallardo" userId="49a044883f185952" providerId="LiveId" clId="{9FCE03AA-50A2-45DB-945B-EF2B1353C2CB}" dt="2023-03-13T21:52:29.864" v="68" actId="1076"/>
          <ac:picMkLst>
            <pc:docMk/>
            <pc:sldMk cId="2028175529" sldId="282"/>
            <ac:picMk id="7" creationId="{2F3211C6-69E5-B73B-5AF2-56A7A075BC1C}"/>
          </ac:picMkLst>
        </pc:picChg>
      </pc:sldChg>
      <pc:sldChg chg="addSp modSp mod">
        <pc:chgData name="Roberto Gallardo" userId="49a044883f185952" providerId="LiveId" clId="{9FCE03AA-50A2-45DB-945B-EF2B1353C2CB}" dt="2023-03-13T21:52:46.991" v="79" actId="1076"/>
        <pc:sldMkLst>
          <pc:docMk/>
          <pc:sldMk cId="1326517747" sldId="283"/>
        </pc:sldMkLst>
        <pc:picChg chg="add mod">
          <ac:chgData name="Roberto Gallardo" userId="49a044883f185952" providerId="LiveId" clId="{9FCE03AA-50A2-45DB-945B-EF2B1353C2CB}" dt="2023-03-13T21:52:46.991" v="79" actId="1076"/>
          <ac:picMkLst>
            <pc:docMk/>
            <pc:sldMk cId="1326517747" sldId="283"/>
            <ac:picMk id="7" creationId="{739C5BD9-7929-2127-2A88-B85ACA548556}"/>
          </ac:picMkLst>
        </pc:picChg>
      </pc:sldChg>
      <pc:sldChg chg="addSp modSp mod">
        <pc:chgData name="Roberto Gallardo" userId="49a044883f185952" providerId="LiveId" clId="{9FCE03AA-50A2-45DB-945B-EF2B1353C2CB}" dt="2023-03-13T21:53:05.310" v="90" actId="1076"/>
        <pc:sldMkLst>
          <pc:docMk/>
          <pc:sldMk cId="783739251" sldId="284"/>
        </pc:sldMkLst>
        <pc:picChg chg="add mod">
          <ac:chgData name="Roberto Gallardo" userId="49a044883f185952" providerId="LiveId" clId="{9FCE03AA-50A2-45DB-945B-EF2B1353C2CB}" dt="2023-03-13T21:53:05.310" v="90" actId="1076"/>
          <ac:picMkLst>
            <pc:docMk/>
            <pc:sldMk cId="783739251" sldId="284"/>
            <ac:picMk id="7" creationId="{4F67ACC0-E57A-D455-C1D6-3DA743CA872A}"/>
          </ac:picMkLst>
        </pc:picChg>
      </pc:sldChg>
      <pc:sldChg chg="addSp modSp mod">
        <pc:chgData name="Roberto Gallardo" userId="49a044883f185952" providerId="LiveId" clId="{9FCE03AA-50A2-45DB-945B-EF2B1353C2CB}" dt="2023-03-13T21:53:20.325" v="101" actId="1076"/>
        <pc:sldMkLst>
          <pc:docMk/>
          <pc:sldMk cId="1676122233" sldId="285"/>
        </pc:sldMkLst>
        <pc:picChg chg="add mod">
          <ac:chgData name="Roberto Gallardo" userId="49a044883f185952" providerId="LiveId" clId="{9FCE03AA-50A2-45DB-945B-EF2B1353C2CB}" dt="2023-03-13T21:53:20.325" v="101" actId="1076"/>
          <ac:picMkLst>
            <pc:docMk/>
            <pc:sldMk cId="1676122233" sldId="285"/>
            <ac:picMk id="7" creationId="{585F8806-E3A4-29AA-97C4-5806BBAEB048}"/>
          </ac:picMkLst>
        </pc:picChg>
      </pc:sldChg>
      <pc:sldChg chg="addSp modSp mod">
        <pc:chgData name="Roberto Gallardo" userId="49a044883f185952" providerId="LiveId" clId="{9FCE03AA-50A2-45DB-945B-EF2B1353C2CB}" dt="2023-03-13T21:53:33.039" v="110" actId="1076"/>
        <pc:sldMkLst>
          <pc:docMk/>
          <pc:sldMk cId="3100398757" sldId="286"/>
        </pc:sldMkLst>
        <pc:picChg chg="add mod">
          <ac:chgData name="Roberto Gallardo" userId="49a044883f185952" providerId="LiveId" clId="{9FCE03AA-50A2-45DB-945B-EF2B1353C2CB}" dt="2023-03-13T21:53:33.039" v="110" actId="1076"/>
          <ac:picMkLst>
            <pc:docMk/>
            <pc:sldMk cId="3100398757" sldId="286"/>
            <ac:picMk id="7" creationId="{320CBD8B-AF5C-E72E-E6C4-B7750CDDF280}"/>
          </ac:picMkLst>
        </pc:picChg>
      </pc:sldChg>
      <pc:sldChg chg="addSp modSp mod">
        <pc:chgData name="Roberto Gallardo" userId="49a044883f185952" providerId="LiveId" clId="{9FCE03AA-50A2-45DB-945B-EF2B1353C2CB}" dt="2023-03-13T21:53:47.791" v="119" actId="1076"/>
        <pc:sldMkLst>
          <pc:docMk/>
          <pc:sldMk cId="1546475425" sldId="287"/>
        </pc:sldMkLst>
        <pc:picChg chg="add mod">
          <ac:chgData name="Roberto Gallardo" userId="49a044883f185952" providerId="LiveId" clId="{9FCE03AA-50A2-45DB-945B-EF2B1353C2CB}" dt="2023-03-13T21:53:47.791" v="119" actId="1076"/>
          <ac:picMkLst>
            <pc:docMk/>
            <pc:sldMk cId="1546475425" sldId="287"/>
            <ac:picMk id="7" creationId="{5FA063F5-2A8E-5C59-774C-FC261C95BA96}"/>
          </ac:picMkLst>
        </pc:picChg>
      </pc:sldChg>
      <pc:sldChg chg="addSp modSp mod">
        <pc:chgData name="Roberto Gallardo" userId="49a044883f185952" providerId="LiveId" clId="{9FCE03AA-50A2-45DB-945B-EF2B1353C2CB}" dt="2023-03-13T21:54:14.979" v="136" actId="1076"/>
        <pc:sldMkLst>
          <pc:docMk/>
          <pc:sldMk cId="1380517306" sldId="288"/>
        </pc:sldMkLst>
        <pc:picChg chg="add mod">
          <ac:chgData name="Roberto Gallardo" userId="49a044883f185952" providerId="LiveId" clId="{9FCE03AA-50A2-45DB-945B-EF2B1353C2CB}" dt="2023-03-13T21:54:14.979" v="136" actId="1076"/>
          <ac:picMkLst>
            <pc:docMk/>
            <pc:sldMk cId="1380517306" sldId="288"/>
            <ac:picMk id="7" creationId="{5856CFE5-A7B1-01A5-DF9B-1CECFF383CE6}"/>
          </ac:picMkLst>
        </pc:picChg>
      </pc:sldChg>
      <pc:sldChg chg="addSp modSp mod">
        <pc:chgData name="Roberto Gallardo" userId="49a044883f185952" providerId="LiveId" clId="{9FCE03AA-50A2-45DB-945B-EF2B1353C2CB}" dt="2023-03-13T21:54:40.372" v="146" actId="1076"/>
        <pc:sldMkLst>
          <pc:docMk/>
          <pc:sldMk cId="1388671151" sldId="289"/>
        </pc:sldMkLst>
        <pc:picChg chg="add mod">
          <ac:chgData name="Roberto Gallardo" userId="49a044883f185952" providerId="LiveId" clId="{9FCE03AA-50A2-45DB-945B-EF2B1353C2CB}" dt="2023-03-13T21:54:40.372" v="146" actId="1076"/>
          <ac:picMkLst>
            <pc:docMk/>
            <pc:sldMk cId="1388671151" sldId="289"/>
            <ac:picMk id="7" creationId="{21176A5D-8665-9708-4CCC-B8CAFAC6B84F}"/>
          </ac:picMkLst>
        </pc:picChg>
      </pc:sldChg>
      <pc:sldChg chg="addSp modSp mod">
        <pc:chgData name="Roberto Gallardo" userId="49a044883f185952" providerId="LiveId" clId="{9FCE03AA-50A2-45DB-945B-EF2B1353C2CB}" dt="2023-03-13T21:55:16.627" v="169" actId="1076"/>
        <pc:sldMkLst>
          <pc:docMk/>
          <pc:sldMk cId="2355376039" sldId="290"/>
        </pc:sldMkLst>
        <pc:picChg chg="add mod">
          <ac:chgData name="Roberto Gallardo" userId="49a044883f185952" providerId="LiveId" clId="{9FCE03AA-50A2-45DB-945B-EF2B1353C2CB}" dt="2023-03-13T21:55:16.627" v="169" actId="1076"/>
          <ac:picMkLst>
            <pc:docMk/>
            <pc:sldMk cId="2355376039" sldId="290"/>
            <ac:picMk id="8" creationId="{992C389A-A3F3-C4C9-4410-87FB41D761C8}"/>
          </ac:picMkLst>
        </pc:picChg>
      </pc:sldChg>
      <pc:sldChg chg="addSp modSp mod">
        <pc:chgData name="Roberto Gallardo" userId="49a044883f185952" providerId="LiveId" clId="{9FCE03AA-50A2-45DB-945B-EF2B1353C2CB}" dt="2023-03-13T21:55:30.820" v="176" actId="14100"/>
        <pc:sldMkLst>
          <pc:docMk/>
          <pc:sldMk cId="3757257295" sldId="291"/>
        </pc:sldMkLst>
        <pc:picChg chg="add mod">
          <ac:chgData name="Roberto Gallardo" userId="49a044883f185952" providerId="LiveId" clId="{9FCE03AA-50A2-45DB-945B-EF2B1353C2CB}" dt="2023-03-13T21:55:30.820" v="176" actId="14100"/>
          <ac:picMkLst>
            <pc:docMk/>
            <pc:sldMk cId="3757257295" sldId="291"/>
            <ac:picMk id="8" creationId="{E35079A9-6E87-AC58-3ED2-7A0D5B4B8490}"/>
          </ac:picMkLst>
        </pc:picChg>
      </pc:sldChg>
      <pc:sldChg chg="addSp modSp mod">
        <pc:chgData name="Roberto Gallardo" userId="49a044883f185952" providerId="LiveId" clId="{9FCE03AA-50A2-45DB-945B-EF2B1353C2CB}" dt="2023-03-13T21:54:01.891" v="127" actId="1076"/>
        <pc:sldMkLst>
          <pc:docMk/>
          <pc:sldMk cId="1259856727" sldId="292"/>
        </pc:sldMkLst>
        <pc:picChg chg="add mod">
          <ac:chgData name="Roberto Gallardo" userId="49a044883f185952" providerId="LiveId" clId="{9FCE03AA-50A2-45DB-945B-EF2B1353C2CB}" dt="2023-03-13T21:54:01.891" v="127" actId="1076"/>
          <ac:picMkLst>
            <pc:docMk/>
            <pc:sldMk cId="1259856727" sldId="292"/>
            <ac:picMk id="7" creationId="{1CF16BBA-3CB9-C41F-B557-6C519BA42E1D}"/>
          </ac:picMkLst>
        </pc:picChg>
      </pc:sldChg>
      <pc:sldChg chg="addSp modSp mod">
        <pc:chgData name="Roberto Gallardo" userId="49a044883f185952" providerId="LiveId" clId="{9FCE03AA-50A2-45DB-945B-EF2B1353C2CB}" dt="2023-03-13T21:51:57.764" v="48" actId="1076"/>
        <pc:sldMkLst>
          <pc:docMk/>
          <pc:sldMk cId="3324519687" sldId="293"/>
        </pc:sldMkLst>
        <pc:picChg chg="add mod">
          <ac:chgData name="Roberto Gallardo" userId="49a044883f185952" providerId="LiveId" clId="{9FCE03AA-50A2-45DB-945B-EF2B1353C2CB}" dt="2023-03-13T21:51:57.764" v="48" actId="1076"/>
          <ac:picMkLst>
            <pc:docMk/>
            <pc:sldMk cId="3324519687" sldId="293"/>
            <ac:picMk id="7" creationId="{C668E660-D8F6-CE4C-05ED-942643153FE0}"/>
          </ac:picMkLst>
        </pc:picChg>
      </pc:sldChg>
      <pc:sldChg chg="addSp modSp mod">
        <pc:chgData name="Roberto Gallardo" userId="49a044883f185952" providerId="LiveId" clId="{9FCE03AA-50A2-45DB-945B-EF2B1353C2CB}" dt="2023-03-13T21:51:27.962" v="31" actId="1076"/>
        <pc:sldMkLst>
          <pc:docMk/>
          <pc:sldMk cId="3256182630" sldId="295"/>
        </pc:sldMkLst>
        <pc:picChg chg="add mod">
          <ac:chgData name="Roberto Gallardo" userId="49a044883f185952" providerId="LiveId" clId="{9FCE03AA-50A2-45DB-945B-EF2B1353C2CB}" dt="2023-03-13T21:51:27.962" v="31" actId="1076"/>
          <ac:picMkLst>
            <pc:docMk/>
            <pc:sldMk cId="3256182630" sldId="295"/>
            <ac:picMk id="7" creationId="{784540C5-23C1-2C62-5EDE-680AC255BC56}"/>
          </ac:picMkLst>
        </pc:picChg>
      </pc:sldChg>
      <pc:sldChg chg="addSp modSp mod">
        <pc:chgData name="Roberto Gallardo" userId="49a044883f185952" providerId="LiveId" clId="{9FCE03AA-50A2-45DB-945B-EF2B1353C2CB}" dt="2023-03-13T21:51:42.948" v="39" actId="1076"/>
        <pc:sldMkLst>
          <pc:docMk/>
          <pc:sldMk cId="4057156843" sldId="296"/>
        </pc:sldMkLst>
        <pc:picChg chg="add mod">
          <ac:chgData name="Roberto Gallardo" userId="49a044883f185952" providerId="LiveId" clId="{9FCE03AA-50A2-45DB-945B-EF2B1353C2CB}" dt="2023-03-13T21:51:42.948" v="39" actId="1076"/>
          <ac:picMkLst>
            <pc:docMk/>
            <pc:sldMk cId="4057156843" sldId="296"/>
            <ac:picMk id="7" creationId="{173BBAF6-73AB-6A50-7B71-A2D340E2DCC2}"/>
          </ac:picMkLst>
        </pc:picChg>
      </pc:sldChg>
      <pc:sldChg chg="addSp modSp mod">
        <pc:chgData name="Roberto Gallardo" userId="49a044883f185952" providerId="LiveId" clId="{9FCE03AA-50A2-45DB-945B-EF2B1353C2CB}" dt="2023-03-13T21:51:12.995" v="24" actId="1076"/>
        <pc:sldMkLst>
          <pc:docMk/>
          <pc:sldMk cId="2080110827" sldId="297"/>
        </pc:sldMkLst>
        <pc:picChg chg="add mod">
          <ac:chgData name="Roberto Gallardo" userId="49a044883f185952" providerId="LiveId" clId="{9FCE03AA-50A2-45DB-945B-EF2B1353C2CB}" dt="2023-03-13T21:51:12.995" v="24" actId="1076"/>
          <ac:picMkLst>
            <pc:docMk/>
            <pc:sldMk cId="2080110827" sldId="297"/>
            <ac:picMk id="6" creationId="{67375E53-AD26-7849-41F7-6A5EE2AB82F0}"/>
          </ac:picMkLst>
        </pc:picChg>
      </pc:sldChg>
      <pc:sldChg chg="addSp modSp mod">
        <pc:chgData name="Roberto Gallardo" userId="49a044883f185952" providerId="LiveId" clId="{9FCE03AA-50A2-45DB-945B-EF2B1353C2CB}" dt="2023-03-13T21:50:49.348" v="15" actId="1076"/>
        <pc:sldMkLst>
          <pc:docMk/>
          <pc:sldMk cId="1532666867" sldId="298"/>
        </pc:sldMkLst>
        <pc:picChg chg="add mod">
          <ac:chgData name="Roberto Gallardo" userId="49a044883f185952" providerId="LiveId" clId="{9FCE03AA-50A2-45DB-945B-EF2B1353C2CB}" dt="2023-03-13T21:50:49.348" v="15" actId="1076"/>
          <ac:picMkLst>
            <pc:docMk/>
            <pc:sldMk cId="1532666867" sldId="298"/>
            <ac:picMk id="6" creationId="{53453D0C-BAD7-5AEA-CFAA-ABAD965C5B20}"/>
          </ac:picMkLst>
        </pc:picChg>
      </pc:sldChg>
      <pc:sldChg chg="addSp modSp mod">
        <pc:chgData name="Roberto Gallardo" userId="49a044883f185952" providerId="LiveId" clId="{9FCE03AA-50A2-45DB-945B-EF2B1353C2CB}" dt="2023-03-13T21:54:57.179" v="157" actId="1076"/>
        <pc:sldMkLst>
          <pc:docMk/>
          <pc:sldMk cId="1951376777" sldId="299"/>
        </pc:sldMkLst>
        <pc:picChg chg="add mod">
          <ac:chgData name="Roberto Gallardo" userId="49a044883f185952" providerId="LiveId" clId="{9FCE03AA-50A2-45DB-945B-EF2B1353C2CB}" dt="2023-03-13T21:54:57.179" v="157" actId="1076"/>
          <ac:picMkLst>
            <pc:docMk/>
            <pc:sldMk cId="1951376777" sldId="299"/>
            <ac:picMk id="7" creationId="{0F0B3056-434F-E194-3127-099C162BB64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lamanc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F44523B-E667-611F-D681-F63632B7A56D}"/>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580669FE-C984-AD8B-26E8-7EBF712066D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CBB834D8-5D59-B0A2-0CAD-3F6AD8D45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3453D0C-BAD7-5AEA-CFAA-ABAD965C5B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67375E53-AD26-7849-41F7-6A5EE2AB82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1" y="1028700"/>
            <a:ext cx="760261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31A1FEF-CF44-1686-54F1-E631C0D75D92}"/>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84540C5-23C1-2C62-5EDE-680AC255B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DF22A35-1783-7139-7018-994CE7DA7688}"/>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173BBAF6-73AB-6A50-7B71-A2D340E2DC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D7E5AE9-1F93-2B78-B9B7-193ABA6E0266}"/>
              </a:ext>
            </a:extLst>
          </p:cNvPr>
          <p:cNvPicPr/>
          <p:nvPr/>
        </p:nvPicPr>
        <p:blipFill>
          <a:blip r:embed="rId2"/>
          <a:stretch>
            <a:fillRect/>
          </a:stretch>
        </p:blipFill>
        <p:spPr>
          <a:xfrm>
            <a:off x="152400" y="1777637"/>
            <a:ext cx="5289974" cy="3787140"/>
          </a:xfrm>
          <a:prstGeom prst="rect">
            <a:avLst/>
          </a:prstGeom>
        </p:spPr>
      </p:pic>
      <p:pic>
        <p:nvPicPr>
          <p:cNvPr id="7" name="Picture 6" descr="Diagram, map&#10;&#10;Description automatically generated">
            <a:extLst>
              <a:ext uri="{FF2B5EF4-FFF2-40B4-BE49-F238E27FC236}">
                <a16:creationId xmlns:a16="http://schemas.microsoft.com/office/drawing/2014/main" id="{C668E660-D8F6-CE4C-05ED-942643153F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08114F-6F0B-E502-5E67-1DFCB3667BF2}"/>
              </a:ext>
            </a:extLst>
          </p:cNvPr>
          <p:cNvPicPr/>
          <p:nvPr/>
        </p:nvPicPr>
        <p:blipFill>
          <a:blip r:embed="rId2"/>
          <a:stretch>
            <a:fillRect/>
          </a:stretch>
        </p:blipFill>
        <p:spPr>
          <a:xfrm>
            <a:off x="152400" y="1783080"/>
            <a:ext cx="5297356" cy="3799114"/>
          </a:xfrm>
          <a:prstGeom prst="rect">
            <a:avLst/>
          </a:prstGeom>
        </p:spPr>
      </p:pic>
      <p:pic>
        <p:nvPicPr>
          <p:cNvPr id="6" name="Picture 5" descr="Diagram, map&#10;&#10;Description automatically generated">
            <a:extLst>
              <a:ext uri="{FF2B5EF4-FFF2-40B4-BE49-F238E27FC236}">
                <a16:creationId xmlns:a16="http://schemas.microsoft.com/office/drawing/2014/main" id="{2D896C95-1136-4C94-77AC-6BA1678B54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0B3FF2E-3BAB-1FC9-8C83-4D1B477801BB}"/>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2F3211C6-69E5-B73B-5AF2-56A7A075BC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F1D1999-6D62-86DE-52B6-B996058B5C99}"/>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39C5BD9-7929-2127-2A88-B85ACA5485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038C762-3A86-2880-2DD6-A2E61E2A7669}"/>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4F67ACC0-E57A-D455-C1D6-3DA743CA87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8"/>
            <a:ext cx="6400801" cy="452637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C748D74-4195-6505-11AA-E61214D3F5D7}"/>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585F8806-E3A4-29AA-97C4-5806BBAEB0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2"/>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0327F9A-202A-299C-3F8B-03ADA0433C3D}"/>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320CBD8B-AF5C-E72E-E6C4-B7750CDDF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F883389-ECB4-9D23-C13D-76817D432D5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FA063F5-2A8E-5C59-774C-FC261C95B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194"/>
            <a:ext cx="6397692" cy="452417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982DE4A-C871-6368-19C5-02A842795637}"/>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1CF16BBA-3CB9-C41F-B557-6C519BA42E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F7F97F8-4522-D13C-13B4-490098270C1C}"/>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5856CFE5-A7B1-01A5-DF9B-1CECFF383C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F9CCDB4-E232-55A1-64AA-3A38AD46D200}"/>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21176A5D-8665-9708-4CCC-B8CAFAC6B8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89DC6BD7-2D3D-2211-DFFD-7359CE6B5909}"/>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0F0B3056-434F-E194-3127-099C162BB6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819439A-5D3D-DA2B-8A18-ECC909C0A1C0}"/>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992C389A-A3F3-C4C9-4410-87FB41D761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3"/>
            <a:ext cx="6396788"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911DB06E-1BE9-F985-CD1F-589F81CAAC33}"/>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416A2949-4EE4-45DF-F2D1-0DDA7AB0273A}"/>
              </a:ext>
            </a:extLst>
          </p:cNvPr>
          <p:cNvPicPr/>
          <p:nvPr/>
        </p:nvPicPr>
        <p:blipFill>
          <a:blip r:embed="rId2"/>
          <a:stretch>
            <a:fillRect/>
          </a:stretch>
        </p:blipFill>
        <p:spPr>
          <a:xfrm>
            <a:off x="161358" y="1777637"/>
            <a:ext cx="5299487" cy="3795849"/>
          </a:xfrm>
          <a:prstGeom prst="rect">
            <a:avLst/>
          </a:prstGeom>
        </p:spPr>
      </p:pic>
      <p:pic>
        <p:nvPicPr>
          <p:cNvPr id="8" name="Picture 7" descr="Diagram, map&#10;&#10;Description automatically generated">
            <a:extLst>
              <a:ext uri="{FF2B5EF4-FFF2-40B4-BE49-F238E27FC236}">
                <a16:creationId xmlns:a16="http://schemas.microsoft.com/office/drawing/2014/main" id="{E35079A9-6E87-AC58-3ED2-7A0D5B4B84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3564"/>
            <a:ext cx="6391842" cy="452003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48CE325-0B31-EFFE-EA35-6ACA8B54F897}"/>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728A676-34FE-F9C2-CED5-9E1E1B74D44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ADB516-A6C7-42B0-CFAE-7CCD6A476EC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328436"/>
            <a:ext cx="1198148" cy="2346233"/>
            <a:chOff x="10485745" y="2544078"/>
            <a:chExt cx="1198148" cy="234623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233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4407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44078"/>
              <a:ext cx="0" cy="7792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15889"/>
              <a:ext cx="0" cy="6744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01A458A-81E7-B992-5CA7-8D316EDC2CFE}"/>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84A681E-6A31-809C-3B23-BD12DDD9CF8A}"/>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9679064-5AA9-F739-681A-000CD9D63E4D}"/>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E0CA0E0-13C2-3FB6-6AD0-7BAF59F1CF26}"/>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405ADE8-1C64-3B08-5B6D-3100ADC8CABB}"/>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F37A100-D7DC-9F12-6824-81C637206E96}"/>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82675AD-9292-0F5F-C74A-38C3160C8B23}"/>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516EFBF8-4F86-7D9E-4D37-F565BD6ED3FB}"/>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20</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5</cp:revision>
  <dcterms:created xsi:type="dcterms:W3CDTF">2022-07-04T13:32:28Z</dcterms:created>
  <dcterms:modified xsi:type="dcterms:W3CDTF">2023-03-13T21:55:36Z</dcterms:modified>
</cp:coreProperties>
</file>